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82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279408-7A08-48E1-CAE6-65F7B0FD2A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EC809140-F969-F919-8FA9-6A1F8BFEE4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809140-F969-F919-8FA9-6A1F8BFEE4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155D011-A6DA-BC51-F900-AFC27ABC28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B30E2C-415C-AF81-3947-DE4FCA130C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F6F5AD4-EFBB-58CF-0465-4B7E406FAE40}"/>
              </a:ext>
            </a:extLst>
          </p:cNvPr>
          <p:cNvGrpSpPr/>
          <p:nvPr/>
        </p:nvGrpSpPr>
        <p:grpSpPr>
          <a:xfrm>
            <a:off x="3728705" y="1399548"/>
            <a:ext cx="4509062" cy="4517136"/>
            <a:chOff x="3728706" y="1442658"/>
            <a:chExt cx="4509062" cy="4511466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E381CDE0-EC31-11EF-44B4-54BE3CD50BA1}"/>
                </a:ext>
              </a:extLst>
            </p:cNvPr>
            <p:cNvSpPr>
              <a:spLocks/>
            </p:cNvSpPr>
            <p:nvPr/>
          </p:nvSpPr>
          <p:spPr>
            <a:xfrm>
              <a:off x="4326444" y="1442658"/>
              <a:ext cx="1648570" cy="1639176"/>
            </a:xfrm>
            <a:custGeom>
              <a:avLst/>
              <a:gdLst>
                <a:gd name="connsiteX0" fmla="*/ 1648570 w 1648570"/>
                <a:gd name="connsiteY0" fmla="*/ 0 h 1639176"/>
                <a:gd name="connsiteX1" fmla="*/ 1648570 w 1648570"/>
                <a:gd name="connsiteY1" fmla="*/ 1341400 h 1639176"/>
                <a:gd name="connsiteX2" fmla="*/ 1563331 w 1648570"/>
                <a:gd name="connsiteY2" fmla="*/ 1345707 h 1639176"/>
                <a:gd name="connsiteX3" fmla="*/ 1010431 w 1648570"/>
                <a:gd name="connsiteY3" fmla="*/ 1608908 h 1639176"/>
                <a:gd name="connsiteX4" fmla="*/ 985476 w 1648570"/>
                <a:gd name="connsiteY4" fmla="*/ 1639176 h 1639176"/>
                <a:gd name="connsiteX5" fmla="*/ 0 w 1648570"/>
                <a:gd name="connsiteY5" fmla="*/ 729319 h 1639176"/>
                <a:gd name="connsiteX6" fmla="*/ 62598 w 1648570"/>
                <a:gd name="connsiteY6" fmla="*/ 660394 h 1639176"/>
                <a:gd name="connsiteX7" fmla="*/ 1426279 w 1648570"/>
                <a:gd name="connsiteY7" fmla="*/ 11232 h 1639176"/>
                <a:gd name="connsiteX8" fmla="*/ 1648570 w 1648570"/>
                <a:gd name="connsiteY8" fmla="*/ 0 h 1639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48570" h="1639176">
                  <a:moveTo>
                    <a:pt x="1648570" y="0"/>
                  </a:moveTo>
                  <a:lnTo>
                    <a:pt x="1648570" y="1341400"/>
                  </a:lnTo>
                  <a:lnTo>
                    <a:pt x="1563331" y="1345707"/>
                  </a:lnTo>
                  <a:cubicBezTo>
                    <a:pt x="1348228" y="1367568"/>
                    <a:pt x="1155172" y="1464063"/>
                    <a:pt x="1010431" y="1608908"/>
                  </a:cubicBezTo>
                  <a:lnTo>
                    <a:pt x="985476" y="1639176"/>
                  </a:lnTo>
                  <a:lnTo>
                    <a:pt x="0" y="729319"/>
                  </a:lnTo>
                  <a:lnTo>
                    <a:pt x="62598" y="660394"/>
                  </a:lnTo>
                  <a:cubicBezTo>
                    <a:pt x="419589" y="303147"/>
                    <a:pt x="895744" y="65150"/>
                    <a:pt x="1426279" y="11232"/>
                  </a:cubicBezTo>
                  <a:lnTo>
                    <a:pt x="1648570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BFE6AF6-B2E4-5D97-651D-9A0D33E72469}"/>
                </a:ext>
              </a:extLst>
            </p:cNvPr>
            <p:cNvSpPr>
              <a:spLocks/>
            </p:cNvSpPr>
            <p:nvPr/>
          </p:nvSpPr>
          <p:spPr>
            <a:xfrm>
              <a:off x="5991460" y="1442659"/>
              <a:ext cx="1700210" cy="1700307"/>
            </a:xfrm>
            <a:custGeom>
              <a:avLst/>
              <a:gdLst>
                <a:gd name="connsiteX0" fmla="*/ 0 w 1700210"/>
                <a:gd name="connsiteY0" fmla="*/ 0 h 1700307"/>
                <a:gd name="connsiteX1" fmla="*/ 222289 w 1700210"/>
                <a:gd name="connsiteY1" fmla="*/ 11232 h 1700307"/>
                <a:gd name="connsiteX2" fmla="*/ 1585970 w 1700210"/>
                <a:gd name="connsiteY2" fmla="*/ 660394 h 1700307"/>
                <a:gd name="connsiteX3" fmla="*/ 1700210 w 1700210"/>
                <a:gd name="connsiteY3" fmla="*/ 786180 h 1700307"/>
                <a:gd name="connsiteX4" fmla="*/ 713494 w 1700210"/>
                <a:gd name="connsiteY4" fmla="*/ 1700307 h 1700307"/>
                <a:gd name="connsiteX5" fmla="*/ 638137 w 1700210"/>
                <a:gd name="connsiteY5" fmla="*/ 1608908 h 1700307"/>
                <a:gd name="connsiteX6" fmla="*/ 85237 w 1700210"/>
                <a:gd name="connsiteY6" fmla="*/ 1345707 h 1700307"/>
                <a:gd name="connsiteX7" fmla="*/ 0 w 1700210"/>
                <a:gd name="connsiteY7" fmla="*/ 1341400 h 1700307"/>
                <a:gd name="connsiteX8" fmla="*/ 0 w 1700210"/>
                <a:gd name="connsiteY8" fmla="*/ 0 h 1700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00210" h="1700307">
                  <a:moveTo>
                    <a:pt x="0" y="0"/>
                  </a:moveTo>
                  <a:lnTo>
                    <a:pt x="222289" y="11232"/>
                  </a:lnTo>
                  <a:cubicBezTo>
                    <a:pt x="752824" y="65150"/>
                    <a:pt x="1228979" y="303147"/>
                    <a:pt x="1585970" y="660394"/>
                  </a:cubicBezTo>
                  <a:lnTo>
                    <a:pt x="1700210" y="786180"/>
                  </a:lnTo>
                  <a:lnTo>
                    <a:pt x="713494" y="1700307"/>
                  </a:lnTo>
                  <a:lnTo>
                    <a:pt x="638137" y="1608908"/>
                  </a:lnTo>
                  <a:cubicBezTo>
                    <a:pt x="493396" y="1464063"/>
                    <a:pt x="300340" y="1367568"/>
                    <a:pt x="85237" y="1345707"/>
                  </a:cubicBezTo>
                  <a:lnTo>
                    <a:pt x="0" y="13414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9486F7FA-35A3-634B-5D29-DEEA681A7A34}"/>
                </a:ext>
              </a:extLst>
            </p:cNvPr>
            <p:cNvSpPr>
              <a:spLocks/>
            </p:cNvSpPr>
            <p:nvPr/>
          </p:nvSpPr>
          <p:spPr>
            <a:xfrm>
              <a:off x="3728706" y="2184152"/>
              <a:ext cx="1572737" cy="1559542"/>
            </a:xfrm>
            <a:custGeom>
              <a:avLst/>
              <a:gdLst>
                <a:gd name="connsiteX0" fmla="*/ 586682 w 1572737"/>
                <a:gd name="connsiteY0" fmla="*/ 0 h 1559542"/>
                <a:gd name="connsiteX1" fmla="*/ 1572737 w 1572737"/>
                <a:gd name="connsiteY1" fmla="*/ 910391 h 1559542"/>
                <a:gd name="connsiteX2" fmla="*/ 1496552 w 1572737"/>
                <a:gd name="connsiteY2" fmla="*/ 1002794 h 1559542"/>
                <a:gd name="connsiteX3" fmla="*/ 1340439 w 1572737"/>
                <a:gd name="connsiteY3" fmla="*/ 1514238 h 1559542"/>
                <a:gd name="connsiteX4" fmla="*/ 1342725 w 1572737"/>
                <a:gd name="connsiteY4" fmla="*/ 1559542 h 1559542"/>
                <a:gd name="connsiteX5" fmla="*/ 2286 w 1572737"/>
                <a:gd name="connsiteY5" fmla="*/ 1559542 h 1559542"/>
                <a:gd name="connsiteX6" fmla="*/ 0 w 1572737"/>
                <a:gd name="connsiteY6" fmla="*/ 1514238 h 1559542"/>
                <a:gd name="connsiteX7" fmla="*/ 514825 w 1572737"/>
                <a:gd name="connsiteY7" fmla="*/ 79118 h 1559542"/>
                <a:gd name="connsiteX8" fmla="*/ 586682 w 1572737"/>
                <a:gd name="connsiteY8" fmla="*/ 0 h 1559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72737" h="1559542">
                  <a:moveTo>
                    <a:pt x="586682" y="0"/>
                  </a:moveTo>
                  <a:lnTo>
                    <a:pt x="1572737" y="910391"/>
                  </a:lnTo>
                  <a:lnTo>
                    <a:pt x="1496552" y="1002794"/>
                  </a:lnTo>
                  <a:cubicBezTo>
                    <a:pt x="1397990" y="1148789"/>
                    <a:pt x="1340439" y="1324788"/>
                    <a:pt x="1340439" y="1514238"/>
                  </a:cubicBezTo>
                  <a:lnTo>
                    <a:pt x="1342725" y="1559542"/>
                  </a:lnTo>
                  <a:lnTo>
                    <a:pt x="2286" y="1559542"/>
                  </a:lnTo>
                  <a:lnTo>
                    <a:pt x="0" y="1514238"/>
                  </a:lnTo>
                  <a:cubicBezTo>
                    <a:pt x="0" y="969097"/>
                    <a:pt x="193203" y="469114"/>
                    <a:pt x="514825" y="79118"/>
                  </a:cubicBezTo>
                  <a:lnTo>
                    <a:pt x="586682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1AEB364A-4FE9-C830-E048-194048B2AA9F}"/>
                </a:ext>
              </a:extLst>
            </p:cNvPr>
            <p:cNvSpPr>
              <a:spLocks/>
            </p:cNvSpPr>
            <p:nvPr/>
          </p:nvSpPr>
          <p:spPr>
            <a:xfrm>
              <a:off x="6715435" y="2241014"/>
              <a:ext cx="1522333" cy="1502681"/>
            </a:xfrm>
            <a:custGeom>
              <a:avLst/>
              <a:gdLst>
                <a:gd name="connsiteX0" fmla="*/ 987294 w 1522333"/>
                <a:gd name="connsiteY0" fmla="*/ 0 h 1502681"/>
                <a:gd name="connsiteX1" fmla="*/ 1007508 w 1522333"/>
                <a:gd name="connsiteY1" fmla="*/ 22257 h 1502681"/>
                <a:gd name="connsiteX2" fmla="*/ 1522333 w 1522333"/>
                <a:gd name="connsiteY2" fmla="*/ 1457377 h 1502681"/>
                <a:gd name="connsiteX3" fmla="*/ 1520047 w 1522333"/>
                <a:gd name="connsiteY3" fmla="*/ 1502681 h 1502681"/>
                <a:gd name="connsiteX4" fmla="*/ 179608 w 1522333"/>
                <a:gd name="connsiteY4" fmla="*/ 1502681 h 1502681"/>
                <a:gd name="connsiteX5" fmla="*/ 181894 w 1522333"/>
                <a:gd name="connsiteY5" fmla="*/ 1457377 h 1502681"/>
                <a:gd name="connsiteX6" fmla="*/ 25781 w 1522333"/>
                <a:gd name="connsiteY6" fmla="*/ 945933 h 1502681"/>
                <a:gd name="connsiteX7" fmla="*/ 0 w 1522333"/>
                <a:gd name="connsiteY7" fmla="*/ 914663 h 1502681"/>
                <a:gd name="connsiteX8" fmla="*/ 987294 w 1522333"/>
                <a:gd name="connsiteY8" fmla="*/ 0 h 1502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2333" h="1502681">
                  <a:moveTo>
                    <a:pt x="987294" y="0"/>
                  </a:moveTo>
                  <a:lnTo>
                    <a:pt x="1007508" y="22257"/>
                  </a:lnTo>
                  <a:cubicBezTo>
                    <a:pt x="1329130" y="412253"/>
                    <a:pt x="1522333" y="912236"/>
                    <a:pt x="1522333" y="1457377"/>
                  </a:cubicBezTo>
                  <a:lnTo>
                    <a:pt x="1520047" y="1502681"/>
                  </a:lnTo>
                  <a:lnTo>
                    <a:pt x="179608" y="1502681"/>
                  </a:lnTo>
                  <a:lnTo>
                    <a:pt x="181894" y="1457377"/>
                  </a:lnTo>
                  <a:cubicBezTo>
                    <a:pt x="181894" y="1267927"/>
                    <a:pt x="124343" y="1091928"/>
                    <a:pt x="25781" y="945933"/>
                  </a:cubicBezTo>
                  <a:lnTo>
                    <a:pt x="0" y="914663"/>
                  </a:lnTo>
                  <a:lnTo>
                    <a:pt x="987294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7412CB81-566C-5452-BFEE-1D42F67AD07A}"/>
                </a:ext>
              </a:extLst>
            </p:cNvPr>
            <p:cNvSpPr>
              <a:spLocks/>
            </p:cNvSpPr>
            <p:nvPr/>
          </p:nvSpPr>
          <p:spPr>
            <a:xfrm>
              <a:off x="3731822" y="3760140"/>
              <a:ext cx="1642259" cy="1530752"/>
            </a:xfrm>
            <a:custGeom>
              <a:avLst/>
              <a:gdLst>
                <a:gd name="connsiteX0" fmla="*/ 0 w 1642259"/>
                <a:gd name="connsiteY0" fmla="*/ 0 h 1530752"/>
                <a:gd name="connsiteX1" fmla="*/ 1340439 w 1642259"/>
                <a:gd name="connsiteY1" fmla="*/ 0 h 1530752"/>
                <a:gd name="connsiteX2" fmla="*/ 1342042 w 1642259"/>
                <a:gd name="connsiteY2" fmla="*/ 31778 h 1530752"/>
                <a:gd name="connsiteX3" fmla="*/ 1605054 w 1642259"/>
                <a:gd name="connsiteY3" fmla="*/ 585074 h 1530752"/>
                <a:gd name="connsiteX4" fmla="*/ 1642259 w 1642259"/>
                <a:gd name="connsiteY4" fmla="*/ 615793 h 1530752"/>
                <a:gd name="connsiteX5" fmla="*/ 654646 w 1642259"/>
                <a:gd name="connsiteY5" fmla="*/ 1530752 h 1530752"/>
                <a:gd name="connsiteX6" fmla="*/ 511709 w 1642259"/>
                <a:gd name="connsiteY6" fmla="*/ 1373370 h 1530752"/>
                <a:gd name="connsiteX7" fmla="*/ 8524 w 1642259"/>
                <a:gd name="connsiteY7" fmla="*/ 168928 h 1530752"/>
                <a:gd name="connsiteX8" fmla="*/ 0 w 1642259"/>
                <a:gd name="connsiteY8" fmla="*/ 0 h 1530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42259" h="1530752">
                  <a:moveTo>
                    <a:pt x="0" y="0"/>
                  </a:moveTo>
                  <a:lnTo>
                    <a:pt x="1340439" y="0"/>
                  </a:lnTo>
                  <a:lnTo>
                    <a:pt x="1342042" y="31778"/>
                  </a:lnTo>
                  <a:cubicBezTo>
                    <a:pt x="1363888" y="247036"/>
                    <a:pt x="1460314" y="440230"/>
                    <a:pt x="1605054" y="585074"/>
                  </a:cubicBezTo>
                  <a:lnTo>
                    <a:pt x="1642259" y="615793"/>
                  </a:lnTo>
                  <a:lnTo>
                    <a:pt x="654646" y="1530752"/>
                  </a:lnTo>
                  <a:lnTo>
                    <a:pt x="511709" y="1373370"/>
                  </a:lnTo>
                  <a:cubicBezTo>
                    <a:pt x="236033" y="1039088"/>
                    <a:pt x="54706" y="623999"/>
                    <a:pt x="8524" y="16892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15EBF5E7-1C34-8835-7329-0FE3116B8BF0}"/>
                </a:ext>
              </a:extLst>
            </p:cNvPr>
            <p:cNvSpPr>
              <a:spLocks/>
            </p:cNvSpPr>
            <p:nvPr/>
          </p:nvSpPr>
          <p:spPr>
            <a:xfrm>
              <a:off x="6651513" y="3760140"/>
              <a:ext cx="1583139" cy="1468196"/>
            </a:xfrm>
            <a:custGeom>
              <a:avLst/>
              <a:gdLst>
                <a:gd name="connsiteX0" fmla="*/ 242701 w 1583139"/>
                <a:gd name="connsiteY0" fmla="*/ 0 h 1468196"/>
                <a:gd name="connsiteX1" fmla="*/ 1583139 w 1583139"/>
                <a:gd name="connsiteY1" fmla="*/ 0 h 1468196"/>
                <a:gd name="connsiteX2" fmla="*/ 1574615 w 1583139"/>
                <a:gd name="connsiteY2" fmla="*/ 168928 h 1468196"/>
                <a:gd name="connsiteX3" fmla="*/ 1071430 w 1583139"/>
                <a:gd name="connsiteY3" fmla="*/ 1373370 h 1468196"/>
                <a:gd name="connsiteX4" fmla="*/ 985309 w 1583139"/>
                <a:gd name="connsiteY4" fmla="*/ 1468196 h 1468196"/>
                <a:gd name="connsiteX5" fmla="*/ 0 w 1583139"/>
                <a:gd name="connsiteY5" fmla="*/ 558494 h 1468196"/>
                <a:gd name="connsiteX6" fmla="*/ 89703 w 1583139"/>
                <a:gd name="connsiteY6" fmla="*/ 449694 h 1468196"/>
                <a:gd name="connsiteX7" fmla="*/ 241097 w 1583139"/>
                <a:gd name="connsiteY7" fmla="*/ 31778 h 1468196"/>
                <a:gd name="connsiteX8" fmla="*/ 242701 w 1583139"/>
                <a:gd name="connsiteY8" fmla="*/ 0 h 1468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83139" h="1468196">
                  <a:moveTo>
                    <a:pt x="242701" y="0"/>
                  </a:moveTo>
                  <a:lnTo>
                    <a:pt x="1583139" y="0"/>
                  </a:lnTo>
                  <a:lnTo>
                    <a:pt x="1574615" y="168928"/>
                  </a:lnTo>
                  <a:cubicBezTo>
                    <a:pt x="1528434" y="623999"/>
                    <a:pt x="1347106" y="1039088"/>
                    <a:pt x="1071430" y="1373370"/>
                  </a:cubicBezTo>
                  <a:lnTo>
                    <a:pt x="985309" y="1468196"/>
                  </a:lnTo>
                  <a:lnTo>
                    <a:pt x="0" y="558494"/>
                  </a:lnTo>
                  <a:lnTo>
                    <a:pt x="89703" y="449694"/>
                  </a:lnTo>
                  <a:cubicBezTo>
                    <a:pt x="171838" y="328032"/>
                    <a:pt x="225493" y="185533"/>
                    <a:pt x="241097" y="31778"/>
                  </a:cubicBezTo>
                  <a:lnTo>
                    <a:pt x="242701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956EC3B-C421-655F-5985-39A7415EF2A8}"/>
                </a:ext>
              </a:extLst>
            </p:cNvPr>
            <p:cNvSpPr>
              <a:spLocks/>
            </p:cNvSpPr>
            <p:nvPr/>
          </p:nvSpPr>
          <p:spPr>
            <a:xfrm>
              <a:off x="5991461" y="4331343"/>
              <a:ext cx="1634303" cy="1622780"/>
            </a:xfrm>
            <a:custGeom>
              <a:avLst/>
              <a:gdLst>
                <a:gd name="connsiteX0" fmla="*/ 649574 w 1634303"/>
                <a:gd name="connsiteY0" fmla="*/ 0 h 1622780"/>
                <a:gd name="connsiteX1" fmla="*/ 1634303 w 1634303"/>
                <a:gd name="connsiteY1" fmla="*/ 909168 h 1622780"/>
                <a:gd name="connsiteX2" fmla="*/ 1585970 w 1634303"/>
                <a:gd name="connsiteY2" fmla="*/ 962385 h 1622780"/>
                <a:gd name="connsiteX3" fmla="*/ 222289 w 1634303"/>
                <a:gd name="connsiteY3" fmla="*/ 1611547 h 1622780"/>
                <a:gd name="connsiteX4" fmla="*/ 0 w 1634303"/>
                <a:gd name="connsiteY4" fmla="*/ 1622780 h 1622780"/>
                <a:gd name="connsiteX5" fmla="*/ 0 w 1634303"/>
                <a:gd name="connsiteY5" fmla="*/ 281380 h 1622780"/>
                <a:gd name="connsiteX6" fmla="*/ 85237 w 1634303"/>
                <a:gd name="connsiteY6" fmla="*/ 277072 h 1622780"/>
                <a:gd name="connsiteX7" fmla="*/ 638137 w 1634303"/>
                <a:gd name="connsiteY7" fmla="*/ 13871 h 1622780"/>
                <a:gd name="connsiteX8" fmla="*/ 649574 w 1634303"/>
                <a:gd name="connsiteY8" fmla="*/ 0 h 1622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34303" h="1622780">
                  <a:moveTo>
                    <a:pt x="649574" y="0"/>
                  </a:moveTo>
                  <a:lnTo>
                    <a:pt x="1634303" y="909168"/>
                  </a:lnTo>
                  <a:lnTo>
                    <a:pt x="1585970" y="962385"/>
                  </a:lnTo>
                  <a:cubicBezTo>
                    <a:pt x="1228979" y="1319632"/>
                    <a:pt x="752824" y="1557630"/>
                    <a:pt x="222289" y="1611547"/>
                  </a:cubicBezTo>
                  <a:lnTo>
                    <a:pt x="0" y="1622780"/>
                  </a:lnTo>
                  <a:lnTo>
                    <a:pt x="0" y="281380"/>
                  </a:lnTo>
                  <a:lnTo>
                    <a:pt x="85237" y="277072"/>
                  </a:lnTo>
                  <a:cubicBezTo>
                    <a:pt x="300340" y="255212"/>
                    <a:pt x="493396" y="158716"/>
                    <a:pt x="638137" y="13871"/>
                  </a:cubicBezTo>
                  <a:lnTo>
                    <a:pt x="649574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0B84B1E-09F3-A269-9272-F28EB275D607}"/>
                </a:ext>
              </a:extLst>
            </p:cNvPr>
            <p:cNvSpPr>
              <a:spLocks/>
            </p:cNvSpPr>
            <p:nvPr/>
          </p:nvSpPr>
          <p:spPr>
            <a:xfrm>
              <a:off x="4398410" y="4386499"/>
              <a:ext cx="1576605" cy="1567625"/>
            </a:xfrm>
            <a:custGeom>
              <a:avLst/>
              <a:gdLst>
                <a:gd name="connsiteX0" fmla="*/ 988467 w 1576605"/>
                <a:gd name="connsiteY0" fmla="*/ 0 h 1567625"/>
                <a:gd name="connsiteX1" fmla="*/ 1073750 w 1576605"/>
                <a:gd name="connsiteY1" fmla="*/ 70415 h 1567625"/>
                <a:gd name="connsiteX2" fmla="*/ 1491366 w 1576605"/>
                <a:gd name="connsiteY2" fmla="*/ 221917 h 1567625"/>
                <a:gd name="connsiteX3" fmla="*/ 1576605 w 1576605"/>
                <a:gd name="connsiteY3" fmla="*/ 226225 h 1567625"/>
                <a:gd name="connsiteX4" fmla="*/ 1576605 w 1576605"/>
                <a:gd name="connsiteY4" fmla="*/ 1567625 h 1567625"/>
                <a:gd name="connsiteX5" fmla="*/ 1354314 w 1576605"/>
                <a:gd name="connsiteY5" fmla="*/ 1556392 h 1567625"/>
                <a:gd name="connsiteX6" fmla="*/ 150736 w 1576605"/>
                <a:gd name="connsiteY6" fmla="*/ 1052845 h 1567625"/>
                <a:gd name="connsiteX7" fmla="*/ 0 w 1576605"/>
                <a:gd name="connsiteY7" fmla="*/ 915749 h 1567625"/>
                <a:gd name="connsiteX8" fmla="*/ 988467 w 1576605"/>
                <a:gd name="connsiteY8" fmla="*/ 0 h 156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76605" h="1567625">
                  <a:moveTo>
                    <a:pt x="988467" y="0"/>
                  </a:moveTo>
                  <a:lnTo>
                    <a:pt x="1073750" y="70415"/>
                  </a:lnTo>
                  <a:cubicBezTo>
                    <a:pt x="1195325" y="152609"/>
                    <a:pt x="1337721" y="206303"/>
                    <a:pt x="1491366" y="221917"/>
                  </a:cubicBezTo>
                  <a:lnTo>
                    <a:pt x="1576605" y="226225"/>
                  </a:lnTo>
                  <a:lnTo>
                    <a:pt x="1576605" y="1567625"/>
                  </a:lnTo>
                  <a:lnTo>
                    <a:pt x="1354314" y="1556392"/>
                  </a:lnTo>
                  <a:cubicBezTo>
                    <a:pt x="899570" y="1510177"/>
                    <a:pt x="484778" y="1328720"/>
                    <a:pt x="150736" y="1052845"/>
                  </a:cubicBezTo>
                  <a:lnTo>
                    <a:pt x="0" y="915749"/>
                  </a:lnTo>
                  <a:lnTo>
                    <a:pt x="988467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Oval 13">
            <a:extLst>
              <a:ext uri="{FF2B5EF4-FFF2-40B4-BE49-F238E27FC236}">
                <a16:creationId xmlns:a16="http://schemas.microsoft.com/office/drawing/2014/main" id="{7F532D2A-22A6-A274-9841-1C0CC6DD0366}"/>
              </a:ext>
            </a:extLst>
          </p:cNvPr>
          <p:cNvSpPr/>
          <p:nvPr/>
        </p:nvSpPr>
        <p:spPr>
          <a:xfrm>
            <a:off x="7685147" y="41030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CEC53A1A-76EF-AD9A-9D52-57B5052F9ECC}"/>
              </a:ext>
            </a:extLst>
          </p:cNvPr>
          <p:cNvSpPr/>
          <p:nvPr/>
        </p:nvSpPr>
        <p:spPr>
          <a:xfrm>
            <a:off x="7742297" y="248380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6CA0939F-EC9A-6ECC-B068-5493BBE16619}"/>
              </a:ext>
            </a:extLst>
          </p:cNvPr>
          <p:cNvSpPr/>
          <p:nvPr/>
        </p:nvSpPr>
        <p:spPr>
          <a:xfrm>
            <a:off x="6484997" y="115030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5565425-5764-B5AE-4D1C-2BCFE19BA58A}"/>
              </a:ext>
            </a:extLst>
          </p:cNvPr>
          <p:cNvSpPr/>
          <p:nvPr/>
        </p:nvSpPr>
        <p:spPr>
          <a:xfrm>
            <a:off x="4541897" y="11312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4CD3F4DD-EC27-DF79-A11A-B9F17D4EFAF3}"/>
              </a:ext>
            </a:extLst>
          </p:cNvPr>
          <p:cNvSpPr/>
          <p:nvPr/>
        </p:nvSpPr>
        <p:spPr>
          <a:xfrm>
            <a:off x="4675247" y="53222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5C518CEB-92CD-0312-CBDC-B5608C567A15}"/>
              </a:ext>
            </a:extLst>
          </p:cNvPr>
          <p:cNvSpPr/>
          <p:nvPr/>
        </p:nvSpPr>
        <p:spPr>
          <a:xfrm>
            <a:off x="6389747" y="52460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B90FC2E4-6D3A-D29F-A1A3-D4E3E341FFDA}"/>
              </a:ext>
            </a:extLst>
          </p:cNvPr>
          <p:cNvSpPr/>
          <p:nvPr/>
        </p:nvSpPr>
        <p:spPr>
          <a:xfrm>
            <a:off x="3341747" y="240760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488AED60-764D-C850-E087-14C812ECE7F1}"/>
              </a:ext>
            </a:extLst>
          </p:cNvPr>
          <p:cNvSpPr/>
          <p:nvPr/>
        </p:nvSpPr>
        <p:spPr>
          <a:xfrm>
            <a:off x="3227447" y="41030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5448458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96</TotalTime>
  <Words>27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Circular Layout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784</cp:revision>
  <dcterms:created xsi:type="dcterms:W3CDTF">2021-03-31T02:49:57Z</dcterms:created>
  <dcterms:modified xsi:type="dcterms:W3CDTF">2025-10-15T03:17:44Z</dcterms:modified>
  <cp:category/>
</cp:coreProperties>
</file>